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311" r:id="rId2"/>
    <p:sldId id="374" r:id="rId3"/>
    <p:sldId id="376" r:id="rId4"/>
    <p:sldId id="379" r:id="rId5"/>
    <p:sldId id="380" r:id="rId6"/>
    <p:sldId id="381" r:id="rId7"/>
    <p:sldId id="382" r:id="rId8"/>
    <p:sldId id="383" r:id="rId9"/>
    <p:sldId id="384" r:id="rId10"/>
    <p:sldId id="385" r:id="rId11"/>
    <p:sldId id="386" r:id="rId12"/>
    <p:sldId id="314" r:id="rId13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vertBarState="maximized">
    <p:restoredLeft sz="12017" autoAdjust="0"/>
    <p:restoredTop sz="97356" autoAdjust="0"/>
  </p:normalViewPr>
  <p:slideViewPr>
    <p:cSldViewPr>
      <p:cViewPr varScale="1">
        <p:scale>
          <a:sx n="140" d="100"/>
          <a:sy n="140" d="100"/>
        </p:scale>
        <p:origin x="-56" y="-16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5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1.xml"/><Relationship Id="rId7" Type="http://schemas.openxmlformats.org/officeDocument/2006/relationships/image" Target="../media/image1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34.xml"/><Relationship Id="rId7" Type="http://schemas.openxmlformats.org/officeDocument/2006/relationships/image" Target="../media/image18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7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1.png"/><Relationship Id="rId4" Type="http://schemas.openxmlformats.org/officeDocument/2006/relationships/tags" Target="../tags/tag35.xml"/><Relationship Id="rId9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33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Derivatives &amp; Techniques of Differentiation</a:t>
            </a:r>
            <a:br>
              <a:rPr lang="en-US" dirty="0" smtClean="0"/>
            </a:br>
            <a:r>
              <a:rPr lang="en-US" dirty="0" smtClean="0"/>
              <a:t>Introductory Techniques of Differenti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Derivative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 smtClean="0"/>
              <a:t>Derivatives &amp; Techniques</a:t>
            </a:r>
          </a:p>
          <a:p>
            <a:pPr algn="ctr"/>
            <a:r>
              <a:rPr lang="en-US" sz="1000" dirty="0" smtClean="0"/>
              <a:t>of Differentiation</a:t>
            </a:r>
          </a:p>
        </p:txBody>
      </p:sp>
      <p:sp>
        <p:nvSpPr>
          <p:cNvPr id="12" name="Rechteck 11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ctr"/>
            <a:r>
              <a:rPr lang="en-US" sz="1000" dirty="0" smtClean="0"/>
              <a:t>Introductory Techniques</a:t>
            </a:r>
          </a:p>
          <a:p>
            <a:pPr marL="0" lvl="1" algn="ctr"/>
            <a:r>
              <a:rPr lang="en-US" sz="1000" dirty="0" smtClean="0"/>
              <a:t>of Differenti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Power, Constant Multiple, Sum and Difference Rule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56070" y="1203583"/>
            <a:ext cx="5326978" cy="67957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427734"/>
            <a:ext cx="7200800" cy="259228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56069" y="2499728"/>
            <a:ext cx="7082482" cy="246336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Power, Constant Multiple, Sum and Difference Rule 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9140" y="1013862"/>
            <a:ext cx="2315441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0" y="1195976"/>
            <a:ext cx="5367385" cy="36666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ower rule, …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165618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9" y="1203598"/>
            <a:ext cx="5351407" cy="1391459"/>
          </a:xfrm>
          <a:prstGeom prst="rect">
            <a:avLst/>
          </a:prstGeom>
          <a:noFill/>
          <a:ln/>
          <a:effectLst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9993" y="1074822"/>
            <a:ext cx="2201768" cy="1715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hteck 11"/>
          <p:cNvSpPr/>
          <p:nvPr/>
        </p:nvSpPr>
        <p:spPr>
          <a:xfrm>
            <a:off x="3419872" y="3723878"/>
            <a:ext cx="5472608" cy="129614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9" y="3795886"/>
            <a:ext cx="3586643" cy="1114087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3419872" y="3075806"/>
            <a:ext cx="5472608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91879" y="3147815"/>
            <a:ext cx="5364528" cy="3848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its extension to arbitrary non-vanishing powe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79208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6"/>
            <a:ext cx="7058622" cy="673837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1995686"/>
            <a:ext cx="7200800" cy="93610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2067680"/>
            <a:ext cx="5349138" cy="756069"/>
          </a:xfrm>
          <a:prstGeom prst="rect">
            <a:avLst/>
          </a:prstGeom>
          <a:noFill/>
          <a:ln/>
          <a:effectLst/>
        </p:spPr>
      </p:pic>
      <p:sp>
        <p:nvSpPr>
          <p:cNvPr id="12" name="Raute 11"/>
          <p:cNvSpPr/>
          <p:nvPr/>
        </p:nvSpPr>
        <p:spPr>
          <a:xfrm>
            <a:off x="12700" y="12700"/>
            <a:ext cx="12700" cy="12700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3419872" y="3075806"/>
            <a:ext cx="5472608" cy="194421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91879" y="3140193"/>
            <a:ext cx="4812923" cy="1834575"/>
          </a:xfrm>
          <a:prstGeom prst="rect">
            <a:avLst/>
          </a:prstGeom>
          <a:noFill/>
          <a:ln/>
          <a:effectLst/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09992" y="3477790"/>
            <a:ext cx="2201767" cy="1517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Grafik 20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323528" y="3435846"/>
            <a:ext cx="432047" cy="1387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nstant Multiple Rule: the derivative of a constant times a function is the constant times the derivative of the function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8180" y="1127398"/>
            <a:ext cx="2215086" cy="2958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65618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21" y="1195976"/>
            <a:ext cx="5388045" cy="1463058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3419872" y="2931790"/>
            <a:ext cx="5472608" cy="13681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69020" y="2996176"/>
            <a:ext cx="4922525" cy="111532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 of the Constant Multiple Rul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6988996" cy="31395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Power and Constant Multiple Ru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6761679" cy="242601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 Rule: the derivative of a sum of functions is the sum of the 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6"/>
            <a:ext cx="7088732" cy="38949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779662"/>
            <a:ext cx="7200800" cy="194421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851655"/>
            <a:ext cx="5305505" cy="17481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 of the Sum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79208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3"/>
            <a:ext cx="4438635" cy="576528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1995686"/>
            <a:ext cx="7200800" cy="30243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067679"/>
            <a:ext cx="6995960" cy="28759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immediate consequence of the Sum Rule and the Constant Multiple Rule is the Difference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8002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83"/>
            <a:ext cx="7078216" cy="1598561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3075806"/>
            <a:ext cx="7200800" cy="79208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3147798"/>
            <a:ext cx="4951499" cy="576871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1691680" y="4155926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1" y="4227919"/>
            <a:ext cx="7082943" cy="64715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64,642"/>
  <p:tag name="ORIGINALWIDTH" val="3424,072"/>
  <p:tag name="LATEXADDIN" val="\documentclass{article}\pagestyle{empty}&#10;\usepackage{amsmath}&#10;\usepackage{amsfonts}&#10;\usepackage{amssymb}&#10;\begin{document}&#10;\begin{minipage}{9.7 cm}&#10;{\sffamily{&#10;{\bf{Example:}} The derivative of the identity function $f(x) = x$, $x \in \mathbb{R}$, is $f'(x) = 1$ for all $x \in \mathbb{R}$.\\[2mm]&#10;This is due to&#10;\begin{eqnarray*}&#10;f'(x) &amp; = &amp;&#10;\lim_{h \to 0} \, \frac{f(x+h) - f(x)}{h} \, \, = \, \, \lim_{h \to 0} \, \frac{x+h - x}{h} \, \, = \, \, 1 \, .&#10;\end{eqnarray*}&#10;}}&#10;\end{minipage}&#10;\end{document}"/>
  <p:tag name="IGUANATEXSIZE" val="20"/>
  <p:tag name="IGUANATEXCURSOR" val="2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89,9138"/>
  <p:tag name="ORIGINALWIDTH" val="2293,963"/>
  <p:tag name="LATEXADDIN" val="\documentclass{article}\pagestyle{empty}&#10;\usepackage{amsmath}&#10;\usepackage{amsfonts}&#10;\usepackage{amssymb}&#10;\begin{document}&#10;\begin{minipage}{9.7 cm}&#10;{\sffamily{&#10;{\bf{The Power Rule:}}\\[1mm]&#10;Let $n \in \mathbb{N}$ be a positive integer, then&#10;\begin{eqnarray*}&#10;\frac{\textrm{d}}{\textrm{d} \, x} \, x^n &amp; = &amp; n \cdot x^{n-1} \, .&#10;\end{eqnarray*}&#10;}}&#10;\end{minipage}&#10;\end{document}"/>
  <p:tag name="IGUANATEXSIZE" val="20"/>
  <p:tag name="IGUANATEXCURSOR" val="2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8,4702"/>
  <p:tag name="ORIGINALWIDTH" val="3431,571"/>
  <p:tag name="LATEXADDIN" val="\documentclass{article}\pagestyle{empty}&#10;\usepackage{amsmath}&#10;\usepackage{amsfonts}&#10;\usepackage{amssymb}&#10;\begin{document}&#10;\begin{minipage}{9.7 cm}&#10;{\sffamily{&#10;More generally, we have the following differentiation rule for power functions:&#10;}}&#10;\end{minipage}&#10;\end{document}"/>
  <p:tag name="IGUANATEXSIZE" val="20"/>
  <p:tag name="IGUANATEXCURSOR" val="2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1,6986"/>
  <p:tag name="ORIGINALWIDTH" val="4489,689"/>
  <p:tag name="LATEXADDIN" val="\documentclass{article}\pagestyle{empty}&#10;\usepackage{amsmath}&#10;\usepackage{amsfonts}&#10;\usepackage{amssymb}&#10;\begin{document}&#10;\begin{minipage}{12.7 cm}&#10;{\sffamily{&#10;In one of the next sections we will show how to extend the Power Rule from $n \in \mathbb{N}$ to arbitrary real exponents $n \in \mathbb{R} \setminus \{ 0 \}$ such that the following general Power Rule can be rigorously stated:&#10;}}&#10;\end{minipage}&#10;\end{document}"/>
  <p:tag name="IGUANATEXSIZE" val="20"/>
  <p:tag name="IGUANATEXCURSOR" val="3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60,4424"/>
  <p:tag name="ORIGINALWIDTH" val="3401,575"/>
  <p:tag name="LATEXADDIN" val="\documentclass{article}\pagestyle{empty}&#10;\usepackage{amsmath}&#10;\usepackage{amsfonts}&#10;\usepackage{amssymb}&#10;\begin{document}&#10;\begin{minipage}{12.7 cm}&#10;{\sffamily{&#10;{\bf{The Power Rule (General Version):}}&#10;Let $n \in \mathbb{R} \setminus \{0\}$, then\\[-5mm]&#10;\begin{eqnarray*}&#10;\frac{\textrm{d}}{\textrm{d} \, x} \, x^n &amp; = &amp; n \cdot x^{n-1} \, .&#10;\end{eqnarray*}&#10;&#10;}}&#10;\end{minipage}&#10;\end{document}"/>
  <p:tag name="IGUANATEXSIZE" val="20"/>
  <p:tag name="IGUANATEXCURSOR" val="3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7,608"/>
  <p:tag name="ORIGINALWIDTH" val="3078,365"/>
  <p:tag name="LATEXADDIN" val="\documentclass{article}\pagestyle{empty}&#10;\usepackage{amsmath}&#10;\usepackage{amsfonts}&#10;\usepackage{amssymb}&#10;\begin{document}&#10;\begin{minipage}{9.7 cm}&#10;{\sffamily{&#10;{\bf{Examples:}}\\[-6mm]&#10;\begin{itemize}&#10;\item Let $f(x) = x^{1000}$, then $f'(x) = 1000 \, x^{999}$.&#10;\item Let $f(x) = \frac{1}{x^2} = x^{-2}$, then $f'(x) = -2 x^{-3} = -\frac{2}{x^3}$.&#10;\item The derivative of $f(x) = \sqrt[3]{x^2}$ is\\[-3mm]&#10;$$&#10;\frac{\textrm{d}}{\textrm{d} \, x} \, x^{2/3} \, \, = \, \, \tfrac{2}{3} x^{(2/3) - 1} \, \, = \, \, \tfrac{2}{3} x^{-1/3} \, \, = \, \, \frac{2}{3 \cdot \sqrt[3]{x}}&#10;$$&#10;\end{itemize}&#10;&#10;}}&#10;\end{minipage}&#10;\end{document}"/>
  <p:tag name="IGUANATEXSIZE" val="20"/>
  <p:tag name="IGUANATEXCURSOR" val="244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5,4818"/>
  <p:tag name="ORIGINALWIDTH" val="467,1917"/>
  <p:tag name="LATEXADDIN" val="\documentclass{article}\pagestyle{empty}&#10;\usepackage{amsmath}&#10;\usepackage{amsfonts}&#10;\usepackage{amssymb}&#10;\begin{document}&#10;\begin{minipage}{9.7 cm}&#10;{\sffamily{&#10;$$&#10;y = \sqrt[3]{x^2}&#10;$$&#10;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6,6368"/>
  <p:tag name="ORIGINALWIDTH" val="3445,07"/>
  <p:tag name="LATEXADDIN" val="\documentclass{article}\pagestyle{empty}&#10;\usepackage{amsmath}&#10;\usepackage{amsfonts}&#10;\usepackage{amssymb}&#10;\begin{document}&#10;\begin{minipage}{9.7 cm}&#10;{\sffamily{&#10;When new functions are formed from old functions by addition, subtraction, or multiplication by a constant, their derivatives can be calculated in terms of derivatives of the old functions.\\[2mm]&#10;In particular, the following formula says that {\bf{the derivative of a constant times a function is the constant times the derivative of the function}}.}}&#10;\end{minipage}&#10;\end{document}"/>
  <p:tag name="IGUANATEXSIZE" val="20"/>
  <p:tag name="IGUANATEXCURSOR" val="5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90,6637"/>
  <p:tag name="ORIGINALWIDTH" val="3147,357"/>
  <p:tag name="LATEXADDIN" val="\documentclass{article}\pagestyle{empty}&#10;\usepackage{amsmath}&#10;\usepackage{amsfonts}&#10;\usepackage{amssymb}&#10;\begin{document}&#10;\begin{minipage}{9.7 cm}&#10;{\sffamily{&#10;{\bf{The Constant Multiple Rule:}}\\[1mm]&#10;If $c \in \mathbb{R}$ is a constant and $f$ is a differentiable function, then&#10;$$&#10;\frac{\textrm{d}}{\textrm{d} \, x } \left( c \cdot f(x) \right) \, \, = \, \, c \cdot \frac{\textrm{d}}{\textrm{d} \, x } f(x) \, .&#10;$$&#10;}}&#10;\end{minipage}&#10;\end{document}"/>
  <p:tag name="IGUANATEXSIZE" val="20"/>
  <p:tag name="IGUANATEXCURSOR" val="4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8,26"/>
  <p:tag name="ORIGINALWIDTH" val="4445,445"/>
  <p:tag name="LATEXADDIN" val="\documentclass{article}\pagestyle{empty}&#10;\usepackage{amsmath}&#10;\usepackage{amsfonts}&#10;\usepackage{amssymb}&#10;\begin{document}&#10;\begin{minipage}{12.7 cm}&#10;{\sffamily{&#10;{\bf{Proof of the Constant Multiple Rule:}}\\[1mm]&#10;Define $g(x) := c f(x)$. Then&#10;\begin{eqnarray*}&#10;g'(x) &amp; = &amp; &#10;\lim_{h \to 0} \frac{g(x+h)-g(x)}{h} \, \, = \, \, \lim_{h \to 0} \frac{c \cdot f(x+h) - c\cdot f(x)}{h} \\[2mm]&#10;&amp; = &amp;&#10;\lim_{h \to 0} \, c \cdot \left( \frac{f(x+h) - f(x)}{h} \right) \\[2mm]&#10;&amp; = &amp;&#10;c \cdot \lim_{h \to 0} \frac{f(x+h)-f(x)}{h} \\[2mm]&#10;&amp; = &amp;&#10;c \cdot f'(x) \, .&#10;\end{eqnarray*}\\[-7mm]&#10;\phantom{u} \hfill $\blacksquare$&#10;}}&#10;\end{minipage}&#10;\end{document}"/>
  <p:tag name="IGUANATEXSIZE" val="20"/>
  <p:tag name="IGUANATEXCURSOR" val="3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76,566"/>
  <p:tag name="ORIGINALWIDTH" val="4299,213"/>
  <p:tag name="LATEXADDIN" val="\documentclass{article}\pagestyle{empty}&#10;\usepackage{amsmath}&#10;\usepackage{amsfonts}&#10;\usepackage{amssymb}&#10;\begin{document}&#10;\begin{minipage}{12.7 cm}&#10;{\sffamily{&#10;{\bf{Example:}}\\[1mm]&#10;{\bf{a)}} Find the derivative of $f(x) = -3 x^4$:&#10;$$&#10;\frac{\textrm{d}}{\textrm{d} \, x} \, \left( -3 x^4 \right) \, \, = \, \, -3 \cdot \frac{\textrm{d}}{\textrm{d} \, x} \, x^4&#10;\, \, = \, \, -3 \cdot \left( 4 \cdot x^3 \right) \, \, = \, \, -12 \cdot x^3 \, .&#10;$$&#10;&#10;\vspace{0.2cm}&#10;{\bf{b)}} Find the derivative of $f(x) = 10 \sqrt[5]{x^2}$:&#10;$$&#10;\frac{\textrm{d}}{\textrm{d} \, x} \, \left( 10 x^{2/5} \right) \, \, = \, \, 10 \cdot \frac{\textrm{d}}{\textrm{d} \, x} \, x^{2/5}&#10;\, \, = \, \, 10 \cdot \left( \tfrac{2}{5} \cdot x^{(2/5)-1} \right) \, \, = \, \, 4 \cdot x^{-3/5} \, \, = \, \, \frac{4}{\sqrt[5]{x^3}} \, .&#10;$$&#10;&#10;}}&#10;\end{minipage}&#10;\end{document}"/>
  <p:tag name="IGUANATEXSIZE" val="20"/>
  <p:tag name="IGUANATEXCURSOR" val="7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6,9704"/>
  <p:tag name="ORIGINALWIDTH" val="4506,937"/>
  <p:tag name="LATEXADDIN" val="\documentclass{article}\pagestyle{empty}&#10;\usepackage{amsmath}&#10;\usepackage{amsfonts}&#10;\usepackage{amssymb}&#10;\begin{document}&#10;\begin{minipage}{12.7 cm}&#10;{\sffamily{&#10;The next rule tells us that {\bf{the derivative of a sum of functions is the sum of the derivatives}}.&#10;}}&#10;\end{minipage}&#10;\end{document}"/>
  <p:tag name="IGUANATEXSIZE" val="20"/>
  <p:tag name="IGUANATEXCURSOR" val="2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8,118"/>
  <p:tag name="ORIGINALWIDTH" val="3371,579"/>
  <p:tag name="LATEXADDIN" val="\documentclass{article}\pagestyle{empty}&#10;\usepackage{amsmath}&#10;\usepackage{amsfonts}&#10;\usepackage{amssymb}&#10;\begin{document}&#10;\begin{minipage}{12.7 cm}&#10;{\sffamily{&#10;{\bf{The Sum Rule:}}\\[1mm]&#10;Let $f$ and $g$ be differentiable, then&#10;$$&#10;\frac{\textrm{d}}{\textrm{d} \, x} \left( f(x) + g(x) \right) \, \, = \, \,&#10;\frac{\textrm{d}}{\textrm{d} \, x} \, f(x) \, + \, \frac{\textrm{d}}{\textrm{d} \, x} \, g(x)&#10;$$&#10;or&#10;$$&#10;\left( f \, + \, g \right)' \, \, = \, \, f' \, + \, g' \, .&#10;$$&#10;}}&#10;\end{minipage}&#10;\end{document}"/>
  <p:tag name="IGUANATEXSIZE" val="20"/>
  <p:tag name="IGUANATEXCURSOR" val="2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47,2066"/>
  <p:tag name="ORIGINALWIDTH" val="2818,898"/>
  <p:tag name="LATEXADDIN" val="\documentclass{article}\pagestyle{empty}&#10;\usepackage{amsmath}&#10;\usepackage{amsfonts}&#10;\usepackage{amssymb}&#10;\begin{document}&#10;\begin{minipage}{12.7 cm}&#10;{\sffamily{&#10;{\bf{The Sum Rule:}}&#10;Let $f$ and $g$ be differentaible, then\\[-2mm]&#10;$$&#10;\left( f \, + \, g \right)' \, \, = \, \, f' \, + \, g' \, .&#10;$$&#10;}}&#10;\end{minipage}&#10;\end{document}"/>
  <p:tag name="IGUANATEXSIZE" val="20"/>
  <p:tag name="IGUANATEXCURSOR" val="2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40,532"/>
  <p:tag name="ORIGINALWIDTH" val="4445,445"/>
  <p:tag name="LATEXADDIN" val="\documentclass{article}\pagestyle{empty}&#10;\usepackage{amsmath}&#10;\usepackage{amsfonts}&#10;\usepackage{amssymb}&#10;\begin{document}&#10;\begin{minipage}{12.7 cm}&#10;{\sffamily{&#10;{\bf{Proof of the Sum Rule}}: Let $F(x) = f(x) + g(x)$. Then,&#10;\begin{eqnarray*}&#10;F'(x) &amp; = &amp; \lim_{h \to 0} \frac{F(x+h)-F(x)}{h} \, \, = \, \, \lim_{h \to 0} \frac{\left( f(x+h) + g(x+h) \right) - \left( f(x) + g(x) \right)}{h} \\[2mm]&#10;&amp; = &amp;&#10;\lim_{h \to 0} \left( \frac{f(x+h) - f(x)}{h} + \frac{g(x+h) - g(x)}{h} \right) \\[2mm]&#10;&amp; = &amp;&#10;\lim_{h \to 0} \frac{f(x+h) - f(x)}{h} \, + \, \lim_{h \to 0} \frac{g(x+h) - g(x)}{h} \\[2mm]&#10;&amp; = &amp;&#10;f'(x) \, + \, g'(x) \, .&#10;\end{eqnarray*}\\[-7mm]&#10;\phantom{u} \hfill $\blacksquare$&#10;}}&#10;\end{minipage}&#10;\end{document}"/>
  <p:tag name="IGUANATEXSIZE" val="20"/>
  <p:tag name="IGUANATEXCURSOR" val="6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1,3799"/>
  <p:tag name="ORIGINALWIDTH" val="4491,939"/>
  <p:tag name="LATEXADDIN" val="\documentclass{article}\pagestyle{empty}&#10;\usepackage{amsmath}&#10;\usepackage{amsfonts}&#10;\usepackage{amssymb}&#10;\begin{document}&#10;\begin{minipage}{12.7 cm}&#10;{\sffamily{&#10;The Sum Rule can be extended to the sum of any number of functions. For instance, using this theorem twice, we get&#10;$$&#10;(f+g+h)' \, \, = \, \, \left( (f+g) + h \right)' \, \, = \, \, (f+g)' + h' \, \, = \, \, f' + g' + h' \, .&#10;$$&#10;By writing $f-g$ as $f+(-1) \cdot g$ and applying the Sum Rule and the Constant Multiple Rule, we get the Difference Rule:&#10;}}&#10;\end{minipage}&#10;\end{document}"/>
  <p:tag name="IGUANATEXSIZE" val="20"/>
  <p:tag name="IGUANATEXCURSOR" val="326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47,2066"/>
  <p:tag name="ORIGINALWIDTH" val="3143,607"/>
  <p:tag name="LATEXADDIN" val="\documentclass{article}\pagestyle{empty}&#10;\usepackage{amsmath}&#10;\usepackage{amsfonts}&#10;\usepackage{amssymb}&#10;\begin{document}&#10;\begin{minipage}{12.7 cm}&#10;{\sffamily{&#10;{\bf{The Difference Rule:}}&#10;Let $f$ and $g$ be differentaible, then\\[-2mm]&#10;$$&#10;\left( f \, - \, g \right)' \, \, = \, \, f' \, - \, g' \, .&#10;$$&#10;}}&#10;\end{minipage}&#10;\end{document}"/>
  <p:tag name="IGUANATEXSIZE" val="20"/>
  <p:tag name="IGUANATEXCURSOR" val="2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89,2013"/>
  <p:tag name="ORIGINALWIDTH" val="4494,938"/>
  <p:tag name="LATEXADDIN" val="\documentclass{article}\pagestyle{empty}&#10;\usepackage{amsmath}&#10;\usepackage{amsfonts}&#10;\usepackage{amssymb}&#10;\begin{document}&#10;\begin{minipage}{12.7 cm}&#10;{\sffamily{&#10;The Constant Multiple Rule, the Sum Rule, and the Difference Rule can be combined with the Power Rule to {\bf{differentiate any polynomial}}, as the following examples demonstrate.}}&#10;\end{minipage}&#10;\end{document}"/>
  <p:tag name="IGUANATEXSIZE" val="20"/>
  <p:tag name="IGUANATEXCURSOR" val="3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08,699"/>
  <p:tag name="ORIGINALWIDTH" val="3380,578"/>
  <p:tag name="LATEXADDIN" val="\documentclass{article}\pagestyle{empty}&#10;\usepackage{amsmath}&#10;\usepackage{amsfonts}&#10;\usepackage{amssymb}&#10;\begin{document}&#10;\begin{minipage}{12.7 cm}&#10;{\sffamily{&#10;{\bf{Example:}} Let $f(x) = x^8 + 12 x^5 - 4 x^4 + 10 x^3 - 6x + 5$. Then&#10;\begin{eqnarray*}&#10;f'(x) &amp; = &amp; 8 x^7 + 60 x^4 - 16 x^3 + 30 x^2 - 6 \, .&#10;\end{eqnarray*}&#10;}}&#10;\end{minipage}&#10;\end{document}"/>
  <p:tag name="IGUANATEXSIZE" val="20"/>
  <p:tag name="IGUANATEXCURSOR" val="3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77,315"/>
  <p:tag name="ORIGINALWIDTH" val="4493,438"/>
  <p:tag name="LATEXADDIN" val="\documentclass{article}\pagestyle{empty}&#10;\usepackage{amsmath}&#10;\usepackage{amsfonts}&#10;\usepackage{amssymb}&#10;\begin{document}&#10;\begin{minipage}{12.7 cm}&#10;{\sffamily{&#10;{\bf{Example:}} \\[1mm]&#10;The equation of motion of a particle is $s(t) = 2t^3 - 5t^2 + 3t + 4$, where $s$ is measured in centimeters and $t$ in seconds. Find the acceleration as a function of time. What is the acceleration after $2$ seconds?\\[2mm]&#10;The velocity and acceleration are&#10;$$&#10;v(t) \, \, = \, \, \frac{\textrm{d} \, s}{\textrm{d} \, t} \, \, = \, \, 6 t^2 - 10 t + 3 \, , \qquad \text{and} \qquad&#10;a(t) \, \, = \, \, \frac{\textrm{d} \, v}{\textrm{d} \, t} \, \, = \, \, 12 t - 10 \, .&#10;$$&#10;The acceleration after $2$ $s$ is $a(2) = 14$ $cm/s^2$.&#10;&#10;}}&#10;\end{minipage}&#10;\end{document}"/>
  <p:tag name="IGUANATEXSIZE" val="20"/>
  <p:tag name="IGUANATEXCURSOR" val="6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0,968"/>
  <p:tag name="ORIGINALWIDTH" val="3430,072"/>
  <p:tag name="LATEXADDIN" val="\documentclass{article}\pagestyle{empty}&#10;\usepackage{amsmath}&#10;\usepackage{amsfonts}&#10;\usepackage{amssymb}&#10;\begin{document}&#10;\begin{minipage}{9.7 cm}&#10;{\sffamily{&#10;{\bf{Example:}}\\[1mm]&#10;Find the points on the curve $y = f(x) = x^4 - 6x^2 + 4$ where the tangent line is horizontal.\\[2mm]&#10;&#10;{\bf{Solution:}}\\[1mm]&#10;Horizontal tangents occur where the derivative is zero. We have&#10;\begin{eqnarray*}&#10;f'(x) &amp; = &amp; 4 x^3 - 12 x \, \, = \, \, 4 x \left( x^2 - 3 \right) \, .&#10;\end{eqnarray*}&#10;Thus\\[-6mm]&#10;\begin{itemize}&#10;\item $f'(x) = 0$ if $x=0$ or $x^2 - 3 = 0$, that is, $x = \pm \sqrt{3}$.\\[-6mm]&#10;\item So the given curve has horizontal tangents when $x = -\sqrt{3}$, $0$, and $\sqrt{3}$.\\[-6mm]&#10;\item The seeked points are $(0,4)$, $(\sqrt{3}, -5)$, and $(-\sqrt{3}, -5)$.&#10;\end{itemize}&#10;}}&#10;\end{minipage}&#10;\end{document}"/>
  <p:tag name="IGUANATEXSIZE" val="20"/>
  <p:tag name="IGUANATEXCURSOR" val="516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6</Words>
  <Application>Microsoft Office PowerPoint</Application>
  <PresentationFormat>Bildschirmpräsentation (16:9)</PresentationFormat>
  <Paragraphs>20</Paragraphs>
  <Slides>12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3" baseType="lpstr">
      <vt:lpstr>Larissa-Design</vt:lpstr>
      <vt:lpstr>Calculus I for MGMT – Derivatives &amp; Techniques of Differentiation Introductory Techniques of Differentiation</vt:lpstr>
      <vt:lpstr>The power rule, …</vt:lpstr>
      <vt:lpstr>… and its extension to arbitrary non-vanishing powers</vt:lpstr>
      <vt:lpstr>The Constant Multiple Rule: the derivative of a constant times a function is the constant times the derivative of the function</vt:lpstr>
      <vt:lpstr>Proof of the Constant Multiple Rule</vt:lpstr>
      <vt:lpstr>Example: Application of the Power and Constant Multiple Rule</vt:lpstr>
      <vt:lpstr>The Sum Rule: the derivative of a sum of functions is the sum of the derivatives</vt:lpstr>
      <vt:lpstr>Proof of the Sum Rule</vt:lpstr>
      <vt:lpstr>An immediate consequence of the Sum Rule and the Constant Multiple Rule is the Difference Rule</vt:lpstr>
      <vt:lpstr>Example: Application of the Power, Constant Multiple, Sum and Difference Rule </vt:lpstr>
      <vt:lpstr>Example: Application of the Power, Constant Multiple, Sum and Difference Rule 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Prof. Dr. Dr. h.c. Florian Rupp</cp:lastModifiedBy>
  <cp:revision>211</cp:revision>
  <dcterms:created xsi:type="dcterms:W3CDTF">2020-04-04T18:50:50Z</dcterms:created>
  <dcterms:modified xsi:type="dcterms:W3CDTF">2022-10-05T17:16:48Z</dcterms:modified>
</cp:coreProperties>
</file>